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22" r:id="rId1"/>
  </p:sldMasterIdLst>
  <p:notesMasterIdLst>
    <p:notesMasterId r:id="rId3"/>
  </p:notesMasterIdLst>
  <p:handoutMasterIdLst>
    <p:handoutMasterId r:id="rId4"/>
  </p:handoutMasterIdLst>
  <p:sldIdLst>
    <p:sldId id="331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4" autoAdjust="0"/>
    <p:restoredTop sz="94660"/>
  </p:normalViewPr>
  <p:slideViewPr>
    <p:cSldViewPr snapToGrid="0" showGuides="1">
      <p:cViewPr varScale="1">
        <p:scale>
          <a:sx n="110" d="100"/>
          <a:sy n="110" d="100"/>
        </p:scale>
        <p:origin x="1680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-9918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03/05/2021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03/05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9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244750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43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#›</a:t>
            </a:fld>
            <a:endParaRPr lang="en-GB" sz="900" dirty="0">
              <a:solidFill>
                <a:schemeClr val="bg2"/>
              </a:solidFill>
            </a:endParaRPr>
          </a:p>
        </p:txBody>
      </p:sp>
      <p:cxnSp>
        <p:nvCxnSpPr>
          <p:cNvPr id="49" name="Straight Connector 48"/>
          <p:cNvCxnSpPr/>
          <p:nvPr userDrawn="1"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magine 11" descr="SidelLogoRGB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4836" y="6483578"/>
            <a:ext cx="938152" cy="256947"/>
          </a:xfrm>
          <a:prstGeom prst="rect">
            <a:avLst/>
          </a:prstGeom>
        </p:spPr>
      </p:pic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1378446" y="6471704"/>
            <a:ext cx="5509187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Title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3 May 2021</a:t>
            </a:fld>
            <a:r>
              <a:rPr lang="en-GB" sz="900" b="0" i="0" u="none" strike="noStrike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dirty="0">
                <a:solidFill>
                  <a:schemeClr val="accent5"/>
                </a:solidFill>
                <a:latin typeface="+mn-lt"/>
              </a:rPr>
              <a:t>[</a:t>
            </a:r>
            <a:r>
              <a:rPr lang="en-US" dirty="0">
                <a:solidFill>
                  <a:schemeClr val="accent5"/>
                </a:solidFill>
                <a:latin typeface="+mn-lt"/>
              </a:rPr>
              <a:t>Public / Internal / Restricted / Highly confidential]</a:t>
            </a:r>
            <a:endParaRPr lang="en-GB" sz="9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5" name="MSIPCMContentMarking" descr="{&quot;HashCode&quot;:238713050,&quot;Placement&quot;:&quot;Footer&quot;,&quot;Top&quot;:521.6203,&quot;Left&quot;:333.911743,&quot;SlideWidth&quot;:720,&quot;SlideHeight&quot;:540}">
            <a:extLst>
              <a:ext uri="{FF2B5EF4-FFF2-40B4-BE49-F238E27FC236}">
                <a16:creationId xmlns:a16="http://schemas.microsoft.com/office/drawing/2014/main" id="{523E2B33-295F-46E5-9C6F-DD7BE94FDA8C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295248988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26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88">
            <a:extLst>
              <a:ext uri="{FF2B5EF4-FFF2-40B4-BE49-F238E27FC236}">
                <a16:creationId xmlns:a16="http://schemas.microsoft.com/office/drawing/2014/main" id="{570C338F-AD7A-43E7-8572-BC025F427630}"/>
              </a:ext>
            </a:extLst>
          </p:cNvPr>
          <p:cNvGrpSpPr>
            <a:grpSpLocks/>
          </p:cNvGrpSpPr>
          <p:nvPr/>
        </p:nvGrpSpPr>
        <p:grpSpPr bwMode="auto">
          <a:xfrm>
            <a:off x="649288" y="1770063"/>
            <a:ext cx="7991475" cy="4041775"/>
            <a:chOff x="650875" y="1906524"/>
            <a:chExt cx="7991475" cy="4042232"/>
          </a:xfrm>
        </p:grpSpPr>
        <p:sp>
          <p:nvSpPr>
            <p:cNvPr id="13" name="Rechteck 3">
              <a:extLst>
                <a:ext uri="{FF2B5EF4-FFF2-40B4-BE49-F238E27FC236}">
                  <a16:creationId xmlns:a16="http://schemas.microsoft.com/office/drawing/2014/main" id="{DAB48293-BFCF-4CBC-9DBE-6F57BC9620A4}"/>
                </a:ext>
              </a:extLst>
            </p:cNvPr>
            <p:cNvSpPr/>
            <p:nvPr/>
          </p:nvSpPr>
          <p:spPr>
            <a:xfrm>
              <a:off x="650875" y="1906524"/>
              <a:ext cx="3889375" cy="388981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spcBef>
                  <a:spcPts val="300"/>
                </a:spcBef>
                <a:buClr>
                  <a:srgbClr val="FF6600"/>
                </a:buClr>
                <a:defRPr/>
              </a:pPr>
              <a:r>
                <a:rPr lang="en-GB" altLang="fr-FR" sz="1400" b="1">
                  <a:solidFill>
                    <a:srgbClr val="FFFFFF"/>
                  </a:solidFill>
                  <a:latin typeface="FZZhunYuan-M02S"/>
                  <a:ea typeface="FZZhunYuan-M02S"/>
                  <a:cs typeface="FZZhunYuan-M02S"/>
                </a:rPr>
                <a:t>价值和益处</a:t>
              </a:r>
              <a:endParaRPr lang="zh-CN" altLang="fr-FR" sz="1400" b="1">
                <a:solidFill>
                  <a:srgbClr val="FFFFFF"/>
                </a:solidFill>
                <a:latin typeface="FZZhunYuan-M02S"/>
                <a:ea typeface="FZZhunYuan-M02S"/>
                <a:cs typeface="FZZhunYuan-M02S"/>
              </a:endParaRPr>
            </a:p>
          </p:txBody>
        </p:sp>
        <p:sp>
          <p:nvSpPr>
            <p:cNvPr id="14" name="Rechteck 4">
              <a:extLst>
                <a:ext uri="{FF2B5EF4-FFF2-40B4-BE49-F238E27FC236}">
                  <a16:creationId xmlns:a16="http://schemas.microsoft.com/office/drawing/2014/main" id="{AF6AEA54-7C7E-4108-9421-0114B89D2704}"/>
                </a:ext>
              </a:extLst>
            </p:cNvPr>
            <p:cNvSpPr>
              <a:spLocks/>
            </p:cNvSpPr>
            <p:nvPr/>
          </p:nvSpPr>
          <p:spPr>
            <a:xfrm>
              <a:off x="650875" y="2295505"/>
              <a:ext cx="3889375" cy="36532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indent="-342900">
                <a:spcBef>
                  <a:spcPct val="20000"/>
                </a:spcBef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US" altLang="fr-FR" sz="1200" dirty="0">
                <a:solidFill>
                  <a:srgbClr val="000000"/>
                </a:solidFill>
              </a:endParaRPr>
            </a:p>
          </p:txBody>
        </p:sp>
        <p:sp>
          <p:nvSpPr>
            <p:cNvPr id="16" name="Rechteck 11">
              <a:extLst>
                <a:ext uri="{FF2B5EF4-FFF2-40B4-BE49-F238E27FC236}">
                  <a16:creationId xmlns:a16="http://schemas.microsoft.com/office/drawing/2014/main" id="{B7011D3D-A190-4775-942D-E5DCB82D7D96}"/>
                </a:ext>
              </a:extLst>
            </p:cNvPr>
            <p:cNvSpPr/>
            <p:nvPr/>
          </p:nvSpPr>
          <p:spPr>
            <a:xfrm>
              <a:off x="4752975" y="1906524"/>
              <a:ext cx="3889375" cy="388981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>
              <a:lvl1pPr marL="190500" indent="-1905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spcBef>
                  <a:spcPts val="300"/>
                </a:spcBef>
                <a:buClr>
                  <a:srgbClr val="E64B00"/>
                </a:buClr>
                <a:defRPr/>
              </a:pPr>
              <a:r>
                <a:rPr lang="ja-JP" altLang="de-DE" sz="1400" b="1" noProof="1">
                  <a:solidFill>
                    <a:srgbClr val="FFFFFF"/>
                  </a:solidFill>
                  <a:latin typeface="FZZhunYuan-M02S"/>
                  <a:ea typeface="FZZhunYuan-M02S"/>
                  <a:cs typeface="FZZhunYuan-M02S"/>
                </a:rPr>
                <a:t>描述</a:t>
              </a:r>
              <a:r>
                <a:rPr lang="ja-JP" altLang="de-DE" sz="1400" b="1" noProof="1">
                  <a:solidFill>
                    <a:srgbClr val="FFFFFF"/>
                  </a:solidFill>
                  <a:cs typeface="Arial" panose="020B0604020202020204" pitchFamily="34" charset="0"/>
                </a:rPr>
                <a:t> </a:t>
              </a:r>
              <a:endParaRPr lang="en-GB" altLang="de-DE" sz="1400"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7" name="Rechteck 12">
              <a:extLst>
                <a:ext uri="{FF2B5EF4-FFF2-40B4-BE49-F238E27FC236}">
                  <a16:creationId xmlns:a16="http://schemas.microsoft.com/office/drawing/2014/main" id="{5005AF6D-AEDD-49BD-A44C-99F916DDE398}"/>
                </a:ext>
              </a:extLst>
            </p:cNvPr>
            <p:cNvSpPr>
              <a:spLocks/>
            </p:cNvSpPr>
            <p:nvPr/>
          </p:nvSpPr>
          <p:spPr>
            <a:xfrm>
              <a:off x="4752975" y="2295505"/>
              <a:ext cx="3889375" cy="36532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>
              <a:lvl1pPr marL="342900" indent="-3429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E64B00"/>
                </a:buClr>
                <a:buFont typeface="Wingdings" panose="05000000000000000000" pitchFamily="2" charset="2"/>
                <a:buChar char="§"/>
                <a:defRPr/>
              </a:pPr>
              <a:endParaRPr lang="en-US" altLang="zh-CN" sz="1200">
                <a:solidFill>
                  <a:srgbClr val="000000"/>
                </a:solidFill>
                <a:ea typeface="SimSun" panose="02010600030101010101" pitchFamily="2" charset="-122"/>
              </a:endParaRPr>
            </a:p>
          </p:txBody>
        </p:sp>
      </p:grpSp>
      <p:graphicFrame>
        <p:nvGraphicFramePr>
          <p:cNvPr id="26" name="Objekt 2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298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26" name="Objekt 2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fr-FR" dirty="0">
                <a:latin typeface="FZZhunYuan-M02S"/>
                <a:cs typeface="FZZhunYuan-M02S"/>
              </a:rPr>
              <a:t>显著降低生产换型时间</a:t>
            </a:r>
            <a:endParaRPr lang="zh-CN" b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55333" y="1424369"/>
            <a:ext cx="7997825" cy="307975"/>
          </a:xfrm>
        </p:spPr>
        <p:txBody>
          <a:bodyPr vert="horz" lIns="0" tIns="0" rIns="0" bIns="0" rtlCol="0">
            <a:spAutoFit/>
          </a:bodyPr>
          <a:lstStyle/>
          <a:p>
            <a:r>
              <a:rPr dirty="0">
                <a:cs typeface="FZZhunYuan-M02S"/>
              </a:rPr>
              <a:t>Bottle Switch™ Universal – Pack 2</a:t>
            </a:r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651885" y="5862257"/>
            <a:ext cx="7972425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ZZhunYuan-M02S"/>
                <a:ea typeface="+mn-ea"/>
                <a:cs typeface="FZZhunYuan-M02S"/>
              </a:rPr>
              <a:t>价值：灵活性</a:t>
            </a:r>
          </a:p>
          <a:p>
            <a:pPr lvl="0"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ZZhunYuan-M02S"/>
                <a:ea typeface="+mn-ea"/>
                <a:cs typeface="FZZhunYuan-M02S"/>
              </a:rPr>
              <a:t>设备：</a:t>
            </a: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FZZhunYuan-M02S"/>
              </a:rPr>
              <a:t>Universal</a:t>
            </a: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ZZhunYuan-M02S"/>
                <a:ea typeface="+mn-ea"/>
                <a:cs typeface="FZZhunYuan-M02S"/>
              </a:rPr>
              <a:t>吹瓶机（</a:t>
            </a: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FZZhunYuan-M02S"/>
              </a:rPr>
              <a:t>MM GM TM</a:t>
            </a: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ZZhunYuan-M02S"/>
                <a:ea typeface="+mn-ea"/>
                <a:cs typeface="FZZhunYuan-M02S"/>
              </a:rPr>
              <a:t>），</a:t>
            </a:r>
            <a:r>
              <a:rPr lang="zh-CN" altLang="fr-FR" sz="800" dirty="0">
                <a:solidFill>
                  <a:srgbClr val="202124"/>
                </a:solidFill>
                <a:latin typeface="Google Sans"/>
              </a:rPr>
              <a:t>对于人力资源机器，必须执行</a:t>
            </a:r>
            <a:r>
              <a:rPr lang="fr-FR" altLang="zh-CN" sz="800" dirty="0">
                <a:solidFill>
                  <a:srgbClr val="202124"/>
                </a:solidFill>
                <a:latin typeface="Google Sans"/>
              </a:rPr>
              <a:t>RFQ</a:t>
            </a:r>
            <a:endParaRPr kumimoji="0" lang="zh-CN" altLang="en-US" sz="800" b="0" i="0" u="none" strike="noStrike" kern="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ZZhunYuan-M02S"/>
                <a:ea typeface="+mn-ea"/>
                <a:cs typeface="FZZhunYuan-M02S"/>
              </a:rPr>
              <a:t>产品目录代码：</a:t>
            </a: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FZZhunYuan-M02S"/>
              </a:rPr>
              <a:t>1003P2</a:t>
            </a:r>
          </a:p>
        </p:txBody>
      </p:sp>
      <p:sp>
        <p:nvSpPr>
          <p:cNvPr id="6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sz="1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0" name="Picture 3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979" t="6013" r="10979" b="6013"/>
          <a:stretch/>
        </p:blipFill>
        <p:spPr bwMode="auto">
          <a:xfrm>
            <a:off x="5860330" y="4246719"/>
            <a:ext cx="1703815" cy="13781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15" name="Group 84"/>
          <p:cNvGraphicFramePr>
            <a:graphicFrameLocks noGrp="1"/>
          </p:cNvGraphicFramePr>
          <p:nvPr>
            <p:extLst/>
          </p:nvPr>
        </p:nvGraphicFramePr>
        <p:xfrm>
          <a:off x="777657" y="3933597"/>
          <a:ext cx="3629463" cy="1295088"/>
        </p:xfrm>
        <a:graphic>
          <a:graphicData uri="http://schemas.openxmlformats.org/drawingml/2006/table">
            <a:tbl>
              <a:tblPr/>
              <a:tblGrid>
                <a:gridCol w="199414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1766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1766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85512">
                <a:tc>
                  <a:txBody>
                    <a:bodyPr/>
                    <a:lstStyle>
                      <a:lvl1pPr algn="l"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fr-FR" sz="7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FZZhunYuan-M02S"/>
                          <a:cs typeface="FZZhunYuan-M02S"/>
                        </a:rPr>
                        <a:t>换型时间</a:t>
                      </a:r>
                      <a:endParaRPr kumimoji="0" lang="zh-CN" altLang="fr-FR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FZZhunYuan-M02S"/>
                      </a:endParaRPr>
                    </a:p>
                  </a:txBody>
                  <a:tcPr marT="45694" marB="4569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fr-FR" sz="7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FZZhunYuan-M02S"/>
                          <a:cs typeface="FZZhunYuan-M02S"/>
                        </a:rPr>
                        <a:t>不使用</a:t>
                      </a:r>
                      <a:r>
                        <a:rPr kumimoji="0" lang="en-GB" altLang="fr-FR" sz="7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lt"/>
                          <a:cs typeface="FZZhunYuan-M02S"/>
                        </a:rPr>
                        <a:t>Bottle</a:t>
                      </a:r>
                      <a:r>
                        <a:rPr kumimoji="0" lang="en-GB" altLang="fr-FR" sz="7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FZZhunYuan-M02S"/>
                          <a:cs typeface="FZZhunYuan-M02S"/>
                        </a:rPr>
                        <a:t> </a:t>
                      </a:r>
                      <a:r>
                        <a:rPr kumimoji="0" lang="en-GB" altLang="fr-FR" sz="7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lt"/>
                          <a:cs typeface="FZZhunYuan-M02S"/>
                        </a:rPr>
                        <a:t>Switch</a:t>
                      </a:r>
                      <a:endParaRPr kumimoji="0" lang="zh-CN" altLang="fr-FR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T="45694" marB="4569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fr-FR" sz="7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FZZhunYuan-M02S"/>
                          <a:cs typeface="FZZhunYuan-M02S"/>
                        </a:rPr>
                        <a:t>采用</a:t>
                      </a:r>
                      <a:r>
                        <a:rPr kumimoji="0" lang="en-GB" altLang="fr-FR" sz="7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FZZhunYuan-M02S"/>
                        </a:rPr>
                        <a:t>Pack 2 Bottle Switch</a:t>
                      </a:r>
                      <a:endParaRPr kumimoji="0" lang="zh-CN" altLang="fr-FR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T="45694" marB="4569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57236">
                <a:tc>
                  <a:txBody>
                    <a:bodyPr/>
                    <a:lstStyle>
                      <a:lvl1pPr algn="l"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fr-FR" sz="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FZZhunYuan-M02S"/>
                          <a:cs typeface="FZZhunYuan-M02S"/>
                        </a:rPr>
                        <a:t>每一吹瓶台所需时间（单位：秒）</a:t>
                      </a:r>
                      <a:endParaRPr kumimoji="0" lang="zh-CN" altLang="fr-FR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FZZhunYuan-M02S"/>
                      </a:endParaRPr>
                    </a:p>
                  </a:txBody>
                  <a:tcPr marT="45694" marB="4569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FZZhunYuan-M02S"/>
                          <a:cs typeface="FZZhunYuan-M02S"/>
                        </a:rPr>
                        <a:t>221</a:t>
                      </a:r>
                      <a:endParaRPr kumimoji="0" lang="zh-CN" altLang="fr-FR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FZZhunYuan-M02S"/>
                      </a:endParaRPr>
                    </a:p>
                  </a:txBody>
                  <a:tcPr marT="45694" marB="45694" anchor="b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7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FZZhunYuan-M02S"/>
                          <a:cs typeface="FZZhunYuan-M02S"/>
                        </a:rPr>
                        <a:t>123</a:t>
                      </a:r>
                      <a:endParaRPr kumimoji="0" lang="zh-CN" altLang="fr-FR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FZZhunYuan-M02S"/>
                      </a:endParaRPr>
                    </a:p>
                  </a:txBody>
                  <a:tcPr marT="45694" marB="45694" anchor="b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57236">
                <a:tc>
                  <a:txBody>
                    <a:bodyPr/>
                    <a:lstStyle>
                      <a:lvl1pPr algn="l"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fr-FR" sz="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FZZhunYuan-M02S"/>
                          <a:cs typeface="FZZhunYuan-M02S"/>
                        </a:rPr>
                        <a:t>每一吹瓶台所需时间（单位：分及秒）</a:t>
                      </a:r>
                      <a:endParaRPr kumimoji="0" lang="zh-CN" altLang="fr-FR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FZZhunYuan-M02S"/>
                      </a:endParaRPr>
                    </a:p>
                  </a:txBody>
                  <a:tcPr marT="45694" marB="4569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7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FZZhunYuan-M02S"/>
                          <a:cs typeface="FZZhunYuan-M02S"/>
                        </a:rPr>
                        <a:t>3分41秒</a:t>
                      </a:r>
                      <a:endParaRPr kumimoji="0" lang="zh-CN" altLang="fr-FR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FZZhunYuan-M02S"/>
                      </a:endParaRPr>
                    </a:p>
                  </a:txBody>
                  <a:tcPr marT="45694" marB="45694" anchor="b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7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FZZhunYuan-M02S"/>
                          <a:cs typeface="FZZhunYuan-M02S"/>
                        </a:rPr>
                        <a:t>2分03秒</a:t>
                      </a:r>
                      <a:endParaRPr kumimoji="0" lang="zh-CN" altLang="fr-FR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FZZhunYuan-M02S"/>
                      </a:endParaRPr>
                    </a:p>
                  </a:txBody>
                  <a:tcPr marT="45694" marB="45694" anchor="b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57236">
                <a:tc>
                  <a:txBody>
                    <a:bodyPr/>
                    <a:lstStyle>
                      <a:lvl1pPr algn="l"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FZZhunYuan-M02S"/>
                          <a:cs typeface="FZZhunYuan-M02S"/>
                        </a:rPr>
                        <a:t>以</a:t>
                      </a:r>
                      <a:r>
                        <a:rPr kumimoji="0" lang="fr-FR" altLang="fr-FR" sz="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FZZhunYuan-M02S"/>
                        </a:rPr>
                        <a:t>SBO 20</a:t>
                      </a:r>
                      <a:r>
                        <a:rPr kumimoji="0" lang="fr-FR" altLang="fr-FR" sz="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FZZhunYuan-M02S"/>
                          <a:cs typeface="FZZhunYuan-M02S"/>
                        </a:rPr>
                        <a:t>为例（分及秒）</a:t>
                      </a:r>
                      <a:endParaRPr kumimoji="0" lang="zh-CN" altLang="fr-FR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FZZhunYuan-M02S"/>
                      </a:endParaRPr>
                    </a:p>
                  </a:txBody>
                  <a:tcPr marT="45694" marB="4569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7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FZZhunYuan-M02S"/>
                          <a:cs typeface="FZZhunYuan-M02S"/>
                        </a:rPr>
                        <a:t>73分40秒</a:t>
                      </a:r>
                      <a:endParaRPr kumimoji="0" lang="zh-CN" altLang="fr-FR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FZZhunYuan-M02S"/>
                      </a:endParaRPr>
                    </a:p>
                  </a:txBody>
                  <a:tcPr marT="45694" marB="4569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7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FZZhunYuan-M02S"/>
                          <a:cs typeface="FZZhunYuan-M02S"/>
                        </a:rPr>
                        <a:t>41分钟</a:t>
                      </a:r>
                      <a:endParaRPr kumimoji="0" lang="zh-CN" altLang="fr-FR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FZZhunYuan-M02S"/>
                      </a:endParaRPr>
                    </a:p>
                  </a:txBody>
                  <a:tcPr marT="45694" marB="4569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57236">
                <a:tc>
                  <a:txBody>
                    <a:bodyPr/>
                    <a:lstStyle>
                      <a:lvl1pPr algn="l"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7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FZZhunYuan-M02S"/>
                          <a:cs typeface="FZZhunYuan-M02S"/>
                        </a:rPr>
                        <a:t>相对标准换型节省的时间  </a:t>
                      </a:r>
                      <a:endParaRPr kumimoji="0" lang="zh-CN" altLang="fr-FR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FZZhunYuan-M02S"/>
                      </a:endParaRPr>
                    </a:p>
                  </a:txBody>
                  <a:tcPr marT="45694" marB="4569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7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FZZhunYuan-M02S"/>
                          <a:cs typeface="FZZhunYuan-M02S"/>
                        </a:rPr>
                        <a:t> </a:t>
                      </a:r>
                      <a:endParaRPr kumimoji="0" lang="zh-CN" altLang="fr-FR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FZZhunYuan-M02S"/>
                      </a:endParaRPr>
                    </a:p>
                  </a:txBody>
                  <a:tcPr marT="45694" marB="4569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7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4"/>
                          </a:solidFill>
                          <a:effectLst/>
                          <a:latin typeface="FZZhunYuan-M02S"/>
                          <a:cs typeface="FZZhunYuan-M02S"/>
                        </a:rPr>
                        <a:t>32分40秒</a:t>
                      </a:r>
                      <a:endParaRPr kumimoji="0" lang="zh-CN" altLang="fr-FR" sz="700" b="1" i="0" u="none" strike="noStrike" cap="none" normalizeH="0" baseline="0" dirty="0">
                        <a:ln>
                          <a:noFill/>
                        </a:ln>
                        <a:solidFill>
                          <a:schemeClr val="accent4"/>
                        </a:solidFill>
                        <a:effectLst/>
                        <a:latin typeface="FZZhunYuan-M02S"/>
                      </a:endParaRPr>
                    </a:p>
                  </a:txBody>
                  <a:tcPr marT="45694" marB="4569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57236">
                <a:tc>
                  <a:txBody>
                    <a:bodyPr/>
                    <a:lstStyle>
                      <a:lvl1pPr algn="l"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fr-FR" sz="7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FZZhunYuan-M02S"/>
                          <a:cs typeface="FZZhunYuan-M02S"/>
                        </a:rPr>
                        <a:t>所需人员</a:t>
                      </a:r>
                      <a:endParaRPr kumimoji="0" lang="zh-CN" altLang="fr-FR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FZZhunYuan-M02S"/>
                      </a:endParaRPr>
                    </a:p>
                  </a:txBody>
                  <a:tcPr marT="45694" marB="4569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7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FZZhunYuan-M02S"/>
                          <a:cs typeface="FZZhunYuan-M02S"/>
                        </a:rPr>
                        <a:t>2</a:t>
                      </a:r>
                      <a:endParaRPr kumimoji="0" lang="zh-CN" altLang="fr-FR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FZZhunYuan-M02S"/>
                      </a:endParaRPr>
                    </a:p>
                  </a:txBody>
                  <a:tcPr marT="45694" marB="4569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fr-FR" sz="7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4"/>
                          </a:solidFill>
                          <a:effectLst/>
                          <a:latin typeface="FZZhunYuan-M02S"/>
                          <a:cs typeface="FZZhunYuan-M02S"/>
                        </a:rPr>
                        <a:t>1</a:t>
                      </a:r>
                      <a:endParaRPr kumimoji="0" lang="zh-CN" altLang="fr-FR" sz="700" b="1" i="0" u="none" strike="noStrike" cap="none" normalizeH="0" baseline="0" dirty="0">
                        <a:ln>
                          <a:noFill/>
                        </a:ln>
                        <a:solidFill>
                          <a:schemeClr val="accent4"/>
                        </a:solidFill>
                        <a:effectLst/>
                        <a:latin typeface="FZZhunYuan-M02S"/>
                      </a:endParaRPr>
                    </a:p>
                  </a:txBody>
                  <a:tcPr marT="45694" marB="4569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18" name="Rectangle 14">
            <a:extLst>
              <a:ext uri="{FF2B5EF4-FFF2-40B4-BE49-F238E27FC236}">
                <a16:creationId xmlns:a16="http://schemas.microsoft.com/office/drawing/2014/main" id="{61FDCB1A-66EE-42DA-A917-3048279B3F0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7700" y="2158999"/>
            <a:ext cx="3889375" cy="10541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182563" indent="-182563">
              <a:spcBef>
                <a:spcPts val="300"/>
              </a:spcBef>
              <a:buClr>
                <a:schemeClr val="folHlink"/>
              </a:buClr>
              <a:buFont typeface="Wingdings" pitchFamily="2" charset="2"/>
              <a:buChar char="§"/>
            </a:pPr>
            <a:r>
              <a:rPr lang="en-US" sz="1100" dirty="0">
                <a:latin typeface="FZZhunYuan-M02S"/>
                <a:cs typeface="FZZhunYuan-M02S"/>
              </a:rPr>
              <a:t>效率：</a:t>
            </a:r>
            <a:r>
              <a:rPr lang="en-US" sz="1100" b="1" dirty="0">
                <a:solidFill>
                  <a:schemeClr val="accent4"/>
                </a:solidFill>
                <a:latin typeface="FZZhunYuan-M02S"/>
                <a:cs typeface="FZZhunYuan-M02S"/>
              </a:rPr>
              <a:t>仅需一名操作员，减少50%的生产停机</a:t>
            </a:r>
          </a:p>
          <a:p>
            <a:pPr marL="182563" indent="-182563">
              <a:spcBef>
                <a:spcPts val="300"/>
              </a:spcBef>
              <a:spcAft>
                <a:spcPts val="0"/>
              </a:spcAft>
              <a:buClr>
                <a:schemeClr val="folHlink"/>
              </a:buClr>
              <a:buFont typeface="Wingdings" pitchFamily="2" charset="2"/>
              <a:buChar char="§"/>
            </a:pPr>
            <a:r>
              <a:rPr lang="en-US" sz="1100" dirty="0" err="1">
                <a:latin typeface="FZZhunYuan-M02S"/>
                <a:cs typeface="FZZhunYuan-M02S"/>
              </a:rPr>
              <a:t>优化成本：减少停机时间带来更佳的总拥有成本</a:t>
            </a:r>
            <a:endParaRPr lang="en-US" sz="1100" dirty="0">
              <a:latin typeface="FZZhunYuan-M02S"/>
              <a:cs typeface="FZZhunYuan-M02S"/>
            </a:endParaRPr>
          </a:p>
          <a:p>
            <a:pPr marL="182563" indent="-182563">
              <a:spcBef>
                <a:spcPts val="300"/>
              </a:spcBef>
              <a:spcAft>
                <a:spcPts val="0"/>
              </a:spcAft>
              <a:buClr>
                <a:schemeClr val="folHlink"/>
              </a:buClr>
              <a:buFont typeface="Wingdings" pitchFamily="2" charset="2"/>
              <a:buChar char="§"/>
            </a:pPr>
            <a:r>
              <a:rPr lang="en-US" sz="1100" dirty="0" err="1">
                <a:latin typeface="FZZhunYuan-M02S"/>
                <a:cs typeface="FZZhunYuan-M02S"/>
              </a:rPr>
              <a:t>安全：半自动系统，手动操作更少</a:t>
            </a:r>
            <a:endParaRPr lang="en-US" sz="1100" dirty="0">
              <a:latin typeface="FZZhunYuan-M02S"/>
              <a:cs typeface="FZZhunYuan-M02S"/>
            </a:endParaRPr>
          </a:p>
          <a:p>
            <a:pPr marL="182563" indent="-182563">
              <a:spcBef>
                <a:spcPts val="300"/>
              </a:spcBef>
              <a:spcAft>
                <a:spcPts val="0"/>
              </a:spcAft>
              <a:buClr>
                <a:schemeClr val="folHlink"/>
              </a:buClr>
              <a:buFont typeface="Wingdings" pitchFamily="2" charset="2"/>
              <a:buChar char="§"/>
            </a:pPr>
            <a:r>
              <a:rPr lang="en-US" sz="1100" dirty="0" err="1">
                <a:latin typeface="FZZhunYuan-M02S"/>
                <a:cs typeface="FZZhunYuan-M02S"/>
              </a:rPr>
              <a:t>操作简便，符合人体工程学设计操作过程无需工具，易于接触零部件</a:t>
            </a:r>
            <a:endParaRPr lang="en-US" sz="1100" dirty="0">
              <a:latin typeface="FZZhunYuan-M02S"/>
              <a:cs typeface="FZZhunYuan-M02S"/>
            </a:endParaRPr>
          </a:p>
        </p:txBody>
      </p:sp>
      <p:sp>
        <p:nvSpPr>
          <p:cNvPr id="19" name="Rectangle 14">
            <a:extLst>
              <a:ext uri="{FF2B5EF4-FFF2-40B4-BE49-F238E27FC236}">
                <a16:creationId xmlns:a16="http://schemas.microsoft.com/office/drawing/2014/main" id="{7BD9B4E0-E5EC-427C-A786-E3C9096A6D0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67549" y="2159000"/>
            <a:ext cx="3889375" cy="11849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182563" lvl="0" indent="-182563">
              <a:spcBef>
                <a:spcPts val="3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US" sz="1100" dirty="0" err="1">
                <a:latin typeface="FZZhunYuan-M02S"/>
                <a:cs typeface="FZZhunYuan-M02S"/>
              </a:rPr>
              <a:t>西得乐获得专利的</a:t>
            </a:r>
            <a:r>
              <a:rPr lang="en-US" sz="1100" dirty="0" err="1">
                <a:cs typeface="FZZhunYuan-M02S"/>
              </a:rPr>
              <a:t>Bottle</a:t>
            </a:r>
            <a:r>
              <a:rPr lang="en-US" sz="1100" dirty="0">
                <a:cs typeface="FZZhunYuan-M02S"/>
              </a:rPr>
              <a:t> Switch™</a:t>
            </a:r>
            <a:r>
              <a:rPr lang="en-US" sz="1100" dirty="0">
                <a:latin typeface="FZZhunYuan-M02S"/>
                <a:cs typeface="FZZhunYuan-M02S"/>
              </a:rPr>
              <a:t>系统使模具换型时间不足一分钟，停机时间减少一半，有效提高了吹瓶作业的灵活性。该半自动解决方案便于操作人员操作，而且操作过程无需工具</a:t>
            </a:r>
            <a:endParaRPr lang="zh-CN" altLang="fr-FR" sz="1100" dirty="0">
              <a:solidFill>
                <a:srgbClr val="000000"/>
              </a:solidFill>
              <a:latin typeface="FZZhunYuan-M02S"/>
              <a:ea typeface="FZZhunYuan-M02S"/>
              <a:cs typeface="FZZhunYuan-M02S"/>
            </a:endParaRPr>
          </a:p>
          <a:p>
            <a:pPr marL="182563" lvl="0" indent="-182563">
              <a:spcBef>
                <a:spcPts val="3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US" sz="1100" dirty="0">
                <a:solidFill>
                  <a:srgbClr val="000000"/>
                </a:solidFill>
                <a:cs typeface="FZZhunYuan-M02S"/>
              </a:rPr>
              <a:t>Bottle Switch™</a:t>
            </a:r>
            <a:r>
              <a:rPr lang="en-US" sz="1100" dirty="0">
                <a:solidFill>
                  <a:srgbClr val="000000"/>
                </a:solidFill>
                <a:latin typeface="FZZhunYuan-M02S"/>
                <a:cs typeface="FZZhunYuan-M02S"/>
              </a:rPr>
              <a:t>提供5种套装包，以满足客户不同需求。</a:t>
            </a:r>
          </a:p>
          <a:p>
            <a:pPr marL="182563" lvl="0" indent="-182563">
              <a:spcBef>
                <a:spcPts val="300"/>
              </a:spcBef>
              <a:buClr>
                <a:schemeClr val="folHlink"/>
              </a:buClr>
              <a:buFont typeface="Wingdings" pitchFamily="2" charset="2"/>
              <a:buChar char="§"/>
              <a:defRPr/>
            </a:pPr>
            <a:r>
              <a:rPr lang="en-US" sz="1100" dirty="0" err="1">
                <a:latin typeface="FZZhunYuan-M02S"/>
                <a:cs typeface="FZZhunYuan-M02S"/>
              </a:rPr>
              <a:t>此</a:t>
            </a:r>
            <a:r>
              <a:rPr lang="en-US" sz="1100" dirty="0" err="1">
                <a:cs typeface="FZZhunYuan-M02S"/>
              </a:rPr>
              <a:t>Pack</a:t>
            </a:r>
            <a:r>
              <a:rPr lang="en-US" sz="1100" dirty="0">
                <a:cs typeface="FZZhunYuan-M02S"/>
              </a:rPr>
              <a:t> 2</a:t>
            </a:r>
            <a:r>
              <a:rPr lang="en-US" sz="1100" dirty="0">
                <a:latin typeface="FZZhunYuan-M02S"/>
                <a:cs typeface="FZZhunYuan-M02S"/>
              </a:rPr>
              <a:t>包含模身换型</a:t>
            </a:r>
          </a:p>
        </p:txBody>
      </p:sp>
    </p:spTree>
    <p:extLst>
      <p:ext uri="{BB962C8B-B14F-4D97-AF65-F5344CB8AC3E}">
        <p14:creationId xmlns:p14="http://schemas.microsoft.com/office/powerpoint/2010/main" val="28207554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ARTICULATE_SLIDE_COUNT" val="13"/>
  <p:tag name="ARTICULATE_PROJECT_OPEN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IOMT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AD38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N-modele-new.potx" id="{63F86F24-1EED-41D3-90E6-59487835C019}" vid="{E4DD9F58-C7BE-4ED2-AAEB-88540AD62E8F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ewSidel_Template_4x3_v10_FINAL</Template>
  <TotalTime>36</TotalTime>
  <Words>139</Words>
  <Application>Microsoft Office PowerPoint</Application>
  <PresentationFormat>On-screen Show (4:3)</PresentationFormat>
  <Paragraphs>3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SimSun</vt:lpstr>
      <vt:lpstr>Arial</vt:lpstr>
      <vt:lpstr>FZZhunYuan-M02S</vt:lpstr>
      <vt:lpstr>Google Sans</vt:lpstr>
      <vt:lpstr>Wingdings</vt:lpstr>
      <vt:lpstr>LIOMT</vt:lpstr>
      <vt:lpstr>think-cell Folie</vt:lpstr>
      <vt:lpstr>显著降低生产换型时间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mprove your equipment efficiency by implementing the autonomous maintenance principles</dc:title>
  <dc:creator>Sorega, Dan</dc:creator>
  <cp:lastModifiedBy>Sorega, Dan</cp:lastModifiedBy>
  <cp:revision>18</cp:revision>
  <dcterms:created xsi:type="dcterms:W3CDTF">2017-06-28T07:21:44Z</dcterms:created>
  <dcterms:modified xsi:type="dcterms:W3CDTF">2021-05-03T08:20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e35bb0a3-90cf-41a8-939e-500b35438edf_Enabled">
    <vt:lpwstr>True</vt:lpwstr>
  </property>
  <property fmtid="{D5CDD505-2E9C-101B-9397-08002B2CF9AE}" pid="5" name="MSIP_Label_e35bb0a3-90cf-41a8-939e-500b35438edf_SiteId">
    <vt:lpwstr>2390cbd1-e663-4321-bc93-ba298637ce52</vt:lpwstr>
  </property>
  <property fmtid="{D5CDD505-2E9C-101B-9397-08002B2CF9AE}" pid="6" name="MSIP_Label_e35bb0a3-90cf-41a8-939e-500b35438edf_Owner">
    <vt:lpwstr>107200@sidel.com</vt:lpwstr>
  </property>
  <property fmtid="{D5CDD505-2E9C-101B-9397-08002B2CF9AE}" pid="7" name="MSIP_Label_e35bb0a3-90cf-41a8-939e-500b35438edf_SetDate">
    <vt:lpwstr>2018-04-10T13:45:49.9530240+02:00</vt:lpwstr>
  </property>
  <property fmtid="{D5CDD505-2E9C-101B-9397-08002B2CF9AE}" pid="8" name="MSIP_Label_e35bb0a3-90cf-41a8-939e-500b35438edf_Name">
    <vt:lpwstr>Sidel-Confidential</vt:lpwstr>
  </property>
  <property fmtid="{D5CDD505-2E9C-101B-9397-08002B2CF9AE}" pid="9" name="MSIP_Label_e35bb0a3-90cf-41a8-939e-500b35438edf_Application">
    <vt:lpwstr>Microsoft Azure Information Protection</vt:lpwstr>
  </property>
  <property fmtid="{D5CDD505-2E9C-101B-9397-08002B2CF9AE}" pid="10" name="MSIP_Label_e35bb0a3-90cf-41a8-939e-500b35438edf_Extended_MSFT_Method">
    <vt:lpwstr>Automatic</vt:lpwstr>
  </property>
  <property fmtid="{D5CDD505-2E9C-101B-9397-08002B2CF9AE}" pid="11" name="MSIP_Label_94480757-a570-4f64-84e7-c5b3ffe9d573_Enabled">
    <vt:lpwstr>true</vt:lpwstr>
  </property>
  <property fmtid="{D5CDD505-2E9C-101B-9397-08002B2CF9AE}" pid="12" name="MSIP_Label_94480757-a570-4f64-84e7-c5b3ffe9d573_SetDate">
    <vt:lpwstr>2021-05-03T08:20:42Z</vt:lpwstr>
  </property>
  <property fmtid="{D5CDD505-2E9C-101B-9397-08002B2CF9AE}" pid="13" name="MSIP_Label_94480757-a570-4f64-84e7-c5b3ffe9d573_Method">
    <vt:lpwstr>Standard</vt:lpwstr>
  </property>
  <property fmtid="{D5CDD505-2E9C-101B-9397-08002B2CF9AE}" pid="14" name="MSIP_Label_94480757-a570-4f64-84e7-c5b3ffe9d573_Name">
    <vt:lpwstr>General</vt:lpwstr>
  </property>
  <property fmtid="{D5CDD505-2E9C-101B-9397-08002B2CF9AE}" pid="15" name="MSIP_Label_94480757-a570-4f64-84e7-c5b3ffe9d573_SiteId">
    <vt:lpwstr>2390cbd1-e663-4321-bc93-ba298637ce52</vt:lpwstr>
  </property>
  <property fmtid="{D5CDD505-2E9C-101B-9397-08002B2CF9AE}" pid="16" name="MSIP_Label_94480757-a570-4f64-84e7-c5b3ffe9d573_ActionId">
    <vt:lpwstr/>
  </property>
  <property fmtid="{D5CDD505-2E9C-101B-9397-08002B2CF9AE}" pid="17" name="MSIP_Label_94480757-a570-4f64-84e7-c5b3ffe9d573_ContentBits">
    <vt:lpwstr>2</vt:lpwstr>
  </property>
</Properties>
</file>